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99019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310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f_HvoipFcA8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B464050F-A45B-4445-9801-0F90EC05D0E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65" r="1193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0 July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Emily Blunt, Dwayne Johnson, Jack Whitehal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Jaume</a:t>
            </a:r>
            <a:r>
              <a:rPr lang="en-US" dirty="0">
                <a:solidFill>
                  <a:schemeClr val="accent6"/>
                </a:solidFill>
              </a:rPr>
              <a:t> Collet Serra (</a:t>
            </a:r>
            <a:r>
              <a:rPr lang="en-US" i="1" dirty="0">
                <a:solidFill>
                  <a:schemeClr val="accent6"/>
                </a:solidFill>
              </a:rPr>
              <a:t>The Shallows, Unknown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Pirates Of The Caribbean, Jumanji: Welcome To The Jungl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wo of the most likeable stars in Hollywood lead this new adventure based on the classic Disney rid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43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Based on Disneyland's theme park ride where a small riverboat takes a group of travellers through a jungle filled with dangerous animals and reptiles, but something more supernatural lies beneath…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Jungle cruis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 classic Disney adventure gets the big-screen treat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5365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Jungle cruis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Jungle cruise</dc:description>
  <cp:lastModifiedBy/>
  <cp:revision>1</cp:revision>
  <dcterms:created xsi:type="dcterms:W3CDTF">2019-03-25T11:13:20Z</dcterms:created>
  <dcterms:modified xsi:type="dcterms:W3CDTF">2021-07-07T10:43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Jungle cruise</vt:lpwstr>
  </property>
</Properties>
</file>